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7"/>
  </p:notesMasterIdLst>
  <p:sldIdLst>
    <p:sldId id="256" r:id="rId2"/>
    <p:sldId id="268" r:id="rId3"/>
    <p:sldId id="269" r:id="rId4"/>
    <p:sldId id="270" r:id="rId5"/>
    <p:sldId id="267" r:id="rId6"/>
  </p:sldIdLst>
  <p:sldSz cx="9144000" cy="6858000" type="screen4x3"/>
  <p:notesSz cx="6858000" cy="9144000"/>
  <p:embeddedFontLst>
    <p:embeddedFont>
      <p:font typeface="Calibri" panose="020F0502020204030204" pitchFamily="34" charset="0"/>
      <p:regular r:id="rId8"/>
      <p:bold r:id="rId9"/>
      <p:italic r:id="rId10"/>
      <p:boldItalic r:id="rId11"/>
    </p:embeddedFont>
  </p:embeddedFontLst>
  <p:custDataLst>
    <p:tags r:id="rId1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21" roundtripDataSignature="AMtx7mgDMaT63RgIIp60aCANuPB3NMX10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78556D-B7CD-456B-AC80-E3A331FDD8F9}" v="39" dt="2022-12-16T23:01:32.56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14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customschemas.google.com/relationships/presentationmetadata" Target="metadata"/><Relationship Id="rId7" Type="http://schemas.openxmlformats.org/officeDocument/2006/relationships/notesMaster" Target="notesMasters/notesMaster1.xml"/><Relationship Id="rId12" Type="http://schemas.openxmlformats.org/officeDocument/2006/relationships/tags" Target="tags/tag1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23" Type="http://schemas.openxmlformats.org/officeDocument/2006/relationships/viewProps" Target="viewProps.xml"/><Relationship Id="rId10" Type="http://schemas.openxmlformats.org/officeDocument/2006/relationships/font" Target="fonts/font3.fntdata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áñez Gallegos Andrea Verónica (Codelco-Casa Matriz)" userId="7a0b4eaa-2096-475c-bf00-88529616e4f7" providerId="ADAL" clId="{FA78556D-B7CD-456B-AC80-E3A331FDD8F9}"/>
    <pc:docChg chg="custSel addSld delSld modSld modMainMaster replTag">
      <pc:chgData name="Yáñez Gallegos Andrea Verónica (Codelco-Casa Matriz)" userId="7a0b4eaa-2096-475c-bf00-88529616e4f7" providerId="ADAL" clId="{FA78556D-B7CD-456B-AC80-E3A331FDD8F9}" dt="2022-12-16T23:01:32.565" v="835"/>
      <pc:docMkLst>
        <pc:docMk/>
      </pc:docMkLst>
      <pc:sldChg chg="delSp modSp mod">
        <pc:chgData name="Yáñez Gallegos Andrea Verónica (Codelco-Casa Matriz)" userId="7a0b4eaa-2096-475c-bf00-88529616e4f7" providerId="ADAL" clId="{FA78556D-B7CD-456B-AC80-E3A331FDD8F9}" dt="2022-12-16T23:01:16.282" v="834" actId="1076"/>
        <pc:sldMkLst>
          <pc:docMk/>
          <pc:sldMk cId="0" sldId="256"/>
        </pc:sldMkLst>
        <pc:spChg chg="mod">
          <ac:chgData name="Yáñez Gallegos Andrea Verónica (Codelco-Casa Matriz)" userId="7a0b4eaa-2096-475c-bf00-88529616e4f7" providerId="ADAL" clId="{FA78556D-B7CD-456B-AC80-E3A331FDD8F9}" dt="2022-12-16T22:24:53.280" v="55" actId="20577"/>
          <ac:spMkLst>
            <pc:docMk/>
            <pc:sldMk cId="0" sldId="256"/>
            <ac:spMk id="89" creationId="{00000000-0000-0000-0000-000000000000}"/>
          </ac:spMkLst>
        </pc:spChg>
        <pc:spChg chg="mod">
          <ac:chgData name="Yáñez Gallegos Andrea Verónica (Codelco-Casa Matriz)" userId="7a0b4eaa-2096-475c-bf00-88529616e4f7" providerId="ADAL" clId="{FA78556D-B7CD-456B-AC80-E3A331FDD8F9}" dt="2022-12-16T23:01:16.282" v="834" actId="1076"/>
          <ac:spMkLst>
            <pc:docMk/>
            <pc:sldMk cId="0" sldId="256"/>
            <ac:spMk id="90" creationId="{00000000-0000-0000-0000-000000000000}"/>
          </ac:spMkLst>
        </pc:spChg>
        <pc:spChg chg="del">
          <ac:chgData name="Yáñez Gallegos Andrea Verónica (Codelco-Casa Matriz)" userId="7a0b4eaa-2096-475c-bf00-88529616e4f7" providerId="ADAL" clId="{FA78556D-B7CD-456B-AC80-E3A331FDD8F9}" dt="2022-12-16T22:25:13.524" v="104" actId="478"/>
          <ac:spMkLst>
            <pc:docMk/>
            <pc:sldMk cId="0" sldId="256"/>
            <ac:spMk id="91" creationId="{00000000-0000-0000-0000-000000000000}"/>
          </ac:spMkLst>
        </pc:spChg>
      </pc:sldChg>
      <pc:sldChg chg="del">
        <pc:chgData name="Yáñez Gallegos Andrea Verónica (Codelco-Casa Matriz)" userId="7a0b4eaa-2096-475c-bf00-88529616e4f7" providerId="ADAL" clId="{FA78556D-B7CD-456B-AC80-E3A331FDD8F9}" dt="2022-12-16T22:24:04.195" v="0" actId="47"/>
        <pc:sldMkLst>
          <pc:docMk/>
          <pc:sldMk cId="0" sldId="257"/>
        </pc:sldMkLst>
      </pc:sldChg>
      <pc:sldChg chg="del">
        <pc:chgData name="Yáñez Gallegos Andrea Verónica (Codelco-Casa Matriz)" userId="7a0b4eaa-2096-475c-bf00-88529616e4f7" providerId="ADAL" clId="{FA78556D-B7CD-456B-AC80-E3A331FDD8F9}" dt="2022-12-16T22:24:04.935" v="1" actId="47"/>
        <pc:sldMkLst>
          <pc:docMk/>
          <pc:sldMk cId="0" sldId="258"/>
        </pc:sldMkLst>
      </pc:sldChg>
      <pc:sldChg chg="del">
        <pc:chgData name="Yáñez Gallegos Andrea Verónica (Codelco-Casa Matriz)" userId="7a0b4eaa-2096-475c-bf00-88529616e4f7" providerId="ADAL" clId="{FA78556D-B7CD-456B-AC80-E3A331FDD8F9}" dt="2022-12-16T22:24:05.614" v="2" actId="47"/>
        <pc:sldMkLst>
          <pc:docMk/>
          <pc:sldMk cId="0" sldId="259"/>
        </pc:sldMkLst>
      </pc:sldChg>
      <pc:sldChg chg="del">
        <pc:chgData name="Yáñez Gallegos Andrea Verónica (Codelco-Casa Matriz)" userId="7a0b4eaa-2096-475c-bf00-88529616e4f7" providerId="ADAL" clId="{FA78556D-B7CD-456B-AC80-E3A331FDD8F9}" dt="2022-12-16T22:24:05.895" v="3" actId="47"/>
        <pc:sldMkLst>
          <pc:docMk/>
          <pc:sldMk cId="0" sldId="260"/>
        </pc:sldMkLst>
      </pc:sldChg>
      <pc:sldChg chg="del">
        <pc:chgData name="Yáñez Gallegos Andrea Verónica (Codelco-Casa Matriz)" userId="7a0b4eaa-2096-475c-bf00-88529616e4f7" providerId="ADAL" clId="{FA78556D-B7CD-456B-AC80-E3A331FDD8F9}" dt="2022-12-16T22:24:06.052" v="4" actId="47"/>
        <pc:sldMkLst>
          <pc:docMk/>
          <pc:sldMk cId="0" sldId="261"/>
        </pc:sldMkLst>
      </pc:sldChg>
      <pc:sldChg chg="del">
        <pc:chgData name="Yáñez Gallegos Andrea Verónica (Codelco-Casa Matriz)" userId="7a0b4eaa-2096-475c-bf00-88529616e4f7" providerId="ADAL" clId="{FA78556D-B7CD-456B-AC80-E3A331FDD8F9}" dt="2022-12-16T22:24:06.221" v="5" actId="47"/>
        <pc:sldMkLst>
          <pc:docMk/>
          <pc:sldMk cId="0" sldId="262"/>
        </pc:sldMkLst>
      </pc:sldChg>
      <pc:sldChg chg="del">
        <pc:chgData name="Yáñez Gallegos Andrea Verónica (Codelco-Casa Matriz)" userId="7a0b4eaa-2096-475c-bf00-88529616e4f7" providerId="ADAL" clId="{FA78556D-B7CD-456B-AC80-E3A331FDD8F9}" dt="2022-12-16T22:24:06.838" v="6" actId="47"/>
        <pc:sldMkLst>
          <pc:docMk/>
          <pc:sldMk cId="0" sldId="263"/>
        </pc:sldMkLst>
      </pc:sldChg>
      <pc:sldChg chg="del">
        <pc:chgData name="Yáñez Gallegos Andrea Verónica (Codelco-Casa Matriz)" userId="7a0b4eaa-2096-475c-bf00-88529616e4f7" providerId="ADAL" clId="{FA78556D-B7CD-456B-AC80-E3A331FDD8F9}" dt="2022-12-16T22:24:07.122" v="7" actId="47"/>
        <pc:sldMkLst>
          <pc:docMk/>
          <pc:sldMk cId="0" sldId="264"/>
        </pc:sldMkLst>
      </pc:sldChg>
      <pc:sldChg chg="del">
        <pc:chgData name="Yáñez Gallegos Andrea Verónica (Codelco-Casa Matriz)" userId="7a0b4eaa-2096-475c-bf00-88529616e4f7" providerId="ADAL" clId="{FA78556D-B7CD-456B-AC80-E3A331FDD8F9}" dt="2022-12-16T22:24:07.285" v="8" actId="47"/>
        <pc:sldMkLst>
          <pc:docMk/>
          <pc:sldMk cId="0" sldId="265"/>
        </pc:sldMkLst>
      </pc:sldChg>
      <pc:sldChg chg="del">
        <pc:chgData name="Yáñez Gallegos Andrea Verónica (Codelco-Casa Matriz)" userId="7a0b4eaa-2096-475c-bf00-88529616e4f7" providerId="ADAL" clId="{FA78556D-B7CD-456B-AC80-E3A331FDD8F9}" dt="2022-12-16T22:24:07.454" v="9" actId="47"/>
        <pc:sldMkLst>
          <pc:docMk/>
          <pc:sldMk cId="0" sldId="266"/>
        </pc:sldMkLst>
      </pc:sldChg>
      <pc:sldChg chg="addSp delSp modSp new add mod">
        <pc:chgData name="Yáñez Gallegos Andrea Verónica (Codelco-Casa Matriz)" userId="7a0b4eaa-2096-475c-bf00-88529616e4f7" providerId="ADAL" clId="{FA78556D-B7CD-456B-AC80-E3A331FDD8F9}" dt="2022-12-16T23:01:32.565" v="835"/>
        <pc:sldMkLst>
          <pc:docMk/>
          <pc:sldMk cId="1853004176" sldId="268"/>
        </pc:sldMkLst>
        <pc:spChg chg="mod">
          <ac:chgData name="Yáñez Gallegos Andrea Verónica (Codelco-Casa Matriz)" userId="7a0b4eaa-2096-475c-bf00-88529616e4f7" providerId="ADAL" clId="{FA78556D-B7CD-456B-AC80-E3A331FDD8F9}" dt="2022-12-16T22:36:51.784" v="617" actId="948"/>
          <ac:spMkLst>
            <pc:docMk/>
            <pc:sldMk cId="1853004176" sldId="268"/>
            <ac:spMk id="2" creationId="{BA27D9F6-3639-703D-0D6C-2EA66920F67D}"/>
          </ac:spMkLst>
        </pc:spChg>
        <pc:spChg chg="add del mod modVis">
          <ac:chgData name="Yáñez Gallegos Andrea Verónica (Codelco-Casa Matriz)" userId="7a0b4eaa-2096-475c-bf00-88529616e4f7" providerId="ADAL" clId="{FA78556D-B7CD-456B-AC80-E3A331FDD8F9}" dt="2022-12-16T22:30:30.129" v="223"/>
          <ac:spMkLst>
            <pc:docMk/>
            <pc:sldMk cId="1853004176" sldId="268"/>
            <ac:spMk id="6" creationId="{D34D4786-B4FC-B1D6-DF7C-DFA48807B001}"/>
          </ac:spMkLst>
        </pc:spChg>
        <pc:spChg chg="add del mod modVis">
          <ac:chgData name="Yáñez Gallegos Andrea Verónica (Codelco-Casa Matriz)" userId="7a0b4eaa-2096-475c-bf00-88529616e4f7" providerId="ADAL" clId="{FA78556D-B7CD-456B-AC80-E3A331FDD8F9}" dt="2022-12-16T22:36:51.247" v="613"/>
          <ac:spMkLst>
            <pc:docMk/>
            <pc:sldMk cId="1853004176" sldId="268"/>
            <ac:spMk id="8" creationId="{79AB6D42-174B-34C2-6165-BF19CE582FC9}"/>
          </ac:spMkLst>
        </pc:spChg>
        <pc:spChg chg="add del mod modVis">
          <ac:chgData name="Yáñez Gallegos Andrea Verónica (Codelco-Casa Matriz)" userId="7a0b4eaa-2096-475c-bf00-88529616e4f7" providerId="ADAL" clId="{FA78556D-B7CD-456B-AC80-E3A331FDD8F9}" dt="2022-12-16T22:36:51.808" v="658"/>
          <ac:spMkLst>
            <pc:docMk/>
            <pc:sldMk cId="1853004176" sldId="268"/>
            <ac:spMk id="9" creationId="{FD85385B-AA20-2C7B-FA21-28E1531CEFEA}"/>
          </ac:spMkLst>
        </pc:spChg>
        <pc:spChg chg="add mod">
          <ac:chgData name="Yáñez Gallegos Andrea Verónica (Codelco-Casa Matriz)" userId="7a0b4eaa-2096-475c-bf00-88529616e4f7" providerId="ADAL" clId="{FA78556D-B7CD-456B-AC80-E3A331FDD8F9}" dt="2022-12-16T23:01:32.565" v="835"/>
          <ac:spMkLst>
            <pc:docMk/>
            <pc:sldMk cId="1853004176" sldId="268"/>
            <ac:spMk id="10" creationId="{678A0D01-A1E1-8C24-513A-E78182922641}"/>
          </ac:spMkLst>
        </pc:spChg>
        <pc:graphicFrameChg chg="add mod ord modVis replST">
          <ac:chgData name="Yáñez Gallegos Andrea Verónica (Codelco-Casa Matriz)" userId="7a0b4eaa-2096-475c-bf00-88529616e4f7" providerId="ADAL" clId="{FA78556D-B7CD-456B-AC80-E3A331FDD8F9}" dt="2022-12-16T22:36:51.823" v="660"/>
          <ac:graphicFrameMkLst>
            <pc:docMk/>
            <pc:sldMk cId="1853004176" sldId="268"/>
            <ac:graphicFrameMk id="7" creationId="{E8F34C03-16FE-B002-5539-453E0DCAF1A5}"/>
          </ac:graphicFrameMkLst>
        </pc:graphicFrameChg>
        <pc:picChg chg="add">
          <ac:chgData name="Yáñez Gallegos Andrea Verónica (Codelco-Casa Matriz)" userId="7a0b4eaa-2096-475c-bf00-88529616e4f7" providerId="ADAL" clId="{FA78556D-B7CD-456B-AC80-E3A331FDD8F9}" dt="2022-12-16T22:25:48.441" v="133"/>
          <ac:picMkLst>
            <pc:docMk/>
            <pc:sldMk cId="1853004176" sldId="268"/>
            <ac:picMk id="5" creationId="{BBBEDC6C-DF66-B7E9-0C7D-B96AB078B89A}"/>
          </ac:picMkLst>
        </pc:picChg>
      </pc:sldChg>
      <pc:sldChg chg="addSp modSp new add mod">
        <pc:chgData name="Yáñez Gallegos Andrea Verónica (Codelco-Casa Matriz)" userId="7a0b4eaa-2096-475c-bf00-88529616e4f7" providerId="ADAL" clId="{FA78556D-B7CD-456B-AC80-E3A331FDD8F9}" dt="2022-12-16T22:59:34.203" v="780" actId="20577"/>
        <pc:sldMkLst>
          <pc:docMk/>
          <pc:sldMk cId="719069510" sldId="269"/>
        </pc:sldMkLst>
        <pc:spChg chg="mod">
          <ac:chgData name="Yáñez Gallegos Andrea Verónica (Codelco-Casa Matriz)" userId="7a0b4eaa-2096-475c-bf00-88529616e4f7" providerId="ADAL" clId="{FA78556D-B7CD-456B-AC80-E3A331FDD8F9}" dt="2022-12-16T22:59:34.203" v="780" actId="20577"/>
          <ac:spMkLst>
            <pc:docMk/>
            <pc:sldMk cId="719069510" sldId="269"/>
            <ac:spMk id="3" creationId="{B6BBEC26-CA72-2246-3A1D-2447AC93E11A}"/>
          </ac:spMkLst>
        </pc:spChg>
        <pc:picChg chg="add mod">
          <ac:chgData name="Yáñez Gallegos Andrea Verónica (Codelco-Casa Matriz)" userId="7a0b4eaa-2096-475c-bf00-88529616e4f7" providerId="ADAL" clId="{FA78556D-B7CD-456B-AC80-E3A331FDD8F9}" dt="2022-12-16T22:29:36.381" v="141" actId="14100"/>
          <ac:picMkLst>
            <pc:docMk/>
            <pc:sldMk cId="719069510" sldId="269"/>
            <ac:picMk id="5" creationId="{0CD235D1-2E17-815E-7650-DEBD84346EB2}"/>
          </ac:picMkLst>
        </pc:picChg>
        <pc:picChg chg="add mod">
          <ac:chgData name="Yáñez Gallegos Andrea Verónica (Codelco-Casa Matriz)" userId="7a0b4eaa-2096-475c-bf00-88529616e4f7" providerId="ADAL" clId="{FA78556D-B7CD-456B-AC80-E3A331FDD8F9}" dt="2022-12-16T22:54:40.673" v="663" actId="1076"/>
          <ac:picMkLst>
            <pc:docMk/>
            <pc:sldMk cId="719069510" sldId="269"/>
            <ac:picMk id="7" creationId="{3700E6AE-A792-B764-355F-907A5B8BA28E}"/>
          </ac:picMkLst>
        </pc:picChg>
      </pc:sldChg>
      <pc:sldChg chg="addSp delSp modSp new add mod">
        <pc:chgData name="Yáñez Gallegos Andrea Verónica (Codelco-Casa Matriz)" userId="7a0b4eaa-2096-475c-bf00-88529616e4f7" providerId="ADAL" clId="{FA78556D-B7CD-456B-AC80-E3A331FDD8F9}" dt="2022-12-16T23:00:52.445" v="833" actId="20577"/>
        <pc:sldMkLst>
          <pc:docMk/>
          <pc:sldMk cId="2980562736" sldId="270"/>
        </pc:sldMkLst>
        <pc:spChg chg="mod">
          <ac:chgData name="Yáñez Gallegos Andrea Verónica (Codelco-Casa Matriz)" userId="7a0b4eaa-2096-475c-bf00-88529616e4f7" providerId="ADAL" clId="{FA78556D-B7CD-456B-AC80-E3A331FDD8F9}" dt="2022-12-16T22:31:20.285" v="255" actId="948"/>
          <ac:spMkLst>
            <pc:docMk/>
            <pc:sldMk cId="2980562736" sldId="270"/>
            <ac:spMk id="2" creationId="{E2134581-C050-0108-D9C2-56D60BB74428}"/>
          </ac:spMkLst>
        </pc:spChg>
        <pc:spChg chg="mod">
          <ac:chgData name="Yáñez Gallegos Andrea Verónica (Codelco-Casa Matriz)" userId="7a0b4eaa-2096-475c-bf00-88529616e4f7" providerId="ADAL" clId="{FA78556D-B7CD-456B-AC80-E3A331FDD8F9}" dt="2022-12-16T23:00:52.445" v="833" actId="20577"/>
          <ac:spMkLst>
            <pc:docMk/>
            <pc:sldMk cId="2980562736" sldId="270"/>
            <ac:spMk id="3" creationId="{2E15FB89-AF15-50DF-E506-47F5E1460EBF}"/>
          </ac:spMkLst>
        </pc:spChg>
        <pc:spChg chg="add del mod modVis">
          <ac:chgData name="Yáñez Gallegos Andrea Verónica (Codelco-Casa Matriz)" userId="7a0b4eaa-2096-475c-bf00-88529616e4f7" providerId="ADAL" clId="{FA78556D-B7CD-456B-AC80-E3A331FDD8F9}" dt="2022-12-16T22:31:20.316" v="296"/>
          <ac:spMkLst>
            <pc:docMk/>
            <pc:sldMk cId="2980562736" sldId="270"/>
            <ac:spMk id="4" creationId="{F068C033-3F91-A516-68CB-E47B973FEC1D}"/>
          </ac:spMkLst>
        </pc:spChg>
        <pc:graphicFrameChg chg="add mod ord modVis replST">
          <ac:chgData name="Yáñez Gallegos Andrea Verónica (Codelco-Casa Matriz)" userId="7a0b4eaa-2096-475c-bf00-88529616e4f7" providerId="ADAL" clId="{FA78556D-B7CD-456B-AC80-E3A331FDD8F9}" dt="2022-12-16T22:31:20.341" v="312"/>
          <ac:graphicFrameMkLst>
            <pc:docMk/>
            <pc:sldMk cId="2980562736" sldId="270"/>
            <ac:graphicFrameMk id="5" creationId="{6DD08BDD-3262-9151-538E-D5DB28AE9033}"/>
          </ac:graphicFrameMkLst>
        </pc:graphicFrameChg>
      </pc:sldChg>
      <pc:sldMasterChg chg="addSp modSp mod">
        <pc:chgData name="Yáñez Gallegos Andrea Verónica (Codelco-Casa Matriz)" userId="7a0b4eaa-2096-475c-bf00-88529616e4f7" providerId="ADAL" clId="{FA78556D-B7CD-456B-AC80-E3A331FDD8F9}" dt="2022-12-16T22:30:30.129" v="221"/>
        <pc:sldMasterMkLst>
          <pc:docMk/>
          <pc:sldMasterMk cId="0" sldId="2147483648"/>
        </pc:sldMasterMkLst>
        <pc:graphicFrameChg chg="add mod ord modVis replST">
          <ac:chgData name="Yáñez Gallegos Andrea Verónica (Codelco-Casa Matriz)" userId="7a0b4eaa-2096-475c-bf00-88529616e4f7" providerId="ADAL" clId="{FA78556D-B7CD-456B-AC80-E3A331FDD8F9}" dt="2022-12-16T22:30:30.129" v="221"/>
          <ac:graphicFrameMkLst>
            <pc:docMk/>
            <pc:sldMasterMk cId="0" sldId="2147483648"/>
            <ac:graphicFrameMk id="2" creationId="{00EFBC68-627A-5DB1-939E-6D76B833D1D1}"/>
          </ac:graphicFrameMkLst>
        </pc:graphicFrame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º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Google Shape;291;g135180edd6e_0_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92" name="Google Shape;292;g135180edd6e_0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" type="title">
  <p:cSld name="TITL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8"/>
          <p:cNvSpPr txBox="1"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8"/>
          <p:cNvSpPr txBox="1"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8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8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8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vertical" type="vertTx">
  <p:cSld name="VERTICAL_TEXT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7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7"/>
          <p:cNvSpPr txBox="1">
            <a:spLocks noGrp="1"/>
          </p:cNvSpPr>
          <p:nvPr>
            <p:ph type="body" idx="1"/>
          </p:nvPr>
        </p:nvSpPr>
        <p:spPr>
          <a:xfrm rot="5400000">
            <a:off x="2396331" y="57944"/>
            <a:ext cx="4351338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17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7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7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vertical y texto" type="vertTitleAndTx">
  <p:cSld name="VERTICAL_TITLE_AND_VERTICAL_TEX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8"/>
          <p:cNvSpPr txBox="1">
            <a:spLocks noGrp="1"/>
          </p:cNvSpPr>
          <p:nvPr>
            <p:ph type="title"/>
          </p:nvPr>
        </p:nvSpPr>
        <p:spPr>
          <a:xfrm rot="5400000">
            <a:off x="4623594" y="2285207"/>
            <a:ext cx="5811838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8"/>
          <p:cNvSpPr txBox="1">
            <a:spLocks noGrp="1"/>
          </p:cNvSpPr>
          <p:nvPr>
            <p:ph type="body" idx="1"/>
          </p:nvPr>
        </p:nvSpPr>
        <p:spPr>
          <a:xfrm rot="5400000">
            <a:off x="623094" y="370681"/>
            <a:ext cx="5811838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" name="Google Shape;81;p18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18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18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objetos" type="obj">
  <p:cSld name="OBJEC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9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9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9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9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9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cabezado de sección" type="secHead">
  <p:cSld name="SECTION_HEADER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10"/>
          <p:cNvSpPr txBox="1"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10"/>
          <p:cNvSpPr txBox="1"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0" name="Google Shape;30;p10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10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10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os objetos" type="twoObj">
  <p:cSld name="TWO_OBJEC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1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1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11"/>
          <p:cNvSpPr txBox="1">
            <a:spLocks noGrp="1"/>
          </p:cNvSpPr>
          <p:nvPr>
            <p:ph type="body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11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1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1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ación" type="twoTxTwoObj">
  <p:cSld name="TWO_OBJECTS_WITH_TEX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2"/>
          <p:cNvSpPr txBox="1"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2"/>
          <p:cNvSpPr txBox="1"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" name="Google Shape;43;p12"/>
          <p:cNvSpPr txBox="1">
            <a:spLocks noGrp="1"/>
          </p:cNvSpPr>
          <p:nvPr>
            <p:ph type="body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12"/>
          <p:cNvSpPr txBox="1">
            <a:spLocks noGrp="1"/>
          </p:cNvSpPr>
          <p:nvPr>
            <p:ph type="body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" name="Google Shape;45;p12"/>
          <p:cNvSpPr txBox="1">
            <a:spLocks noGrp="1"/>
          </p:cNvSpPr>
          <p:nvPr>
            <p:ph type="body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" name="Google Shape;46;p12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2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12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olo el título" type="titleOnly">
  <p:cSld name="TITLE_ONLY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3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13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3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 blanco" type="blank">
  <p:cSld name="BLANK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ido con título" type="objTx">
  <p:cSld name="OBJECT_WITH_CAPTION_TEXT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5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5"/>
          <p:cNvSpPr txBox="1">
            <a:spLocks noGrp="1"/>
          </p:cNvSpPr>
          <p:nvPr>
            <p:ph type="body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1" name="Google Shape;61;p15"/>
          <p:cNvSpPr txBox="1">
            <a:spLocks noGrp="1"/>
          </p:cNvSpPr>
          <p:nvPr>
            <p:ph type="body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2" name="Google Shape;62;p15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5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15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n con título" type="picTx">
  <p:cSld name="PICTURE_WITH_CAPTION_TEX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6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6"/>
          <p:cNvSpPr>
            <a:spLocks noGrp="1"/>
          </p:cNvSpPr>
          <p:nvPr>
            <p:ph type="pic" idx="2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8" name="Google Shape;68;p16"/>
          <p:cNvSpPr txBox="1">
            <a:spLocks noGrp="1"/>
          </p:cNvSpPr>
          <p:nvPr>
            <p:ph type="body" idx="1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9" name="Google Shape;69;p16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6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16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00EFBC68-627A-5DB1-939E-6D76B833D1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81397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415" imgH="416" progId="TCLayout.ActiveDocument.1">
                  <p:embed/>
                </p:oleObj>
              </mc:Choice>
              <mc:Fallback>
                <p:oleObj name="Diapositiva de think-cell" r:id="rId14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00EFBC68-627A-5DB1-939E-6D76B833D1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7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7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7"/>
          <p:cNvSpPr txBox="1">
            <a:spLocks noGrp="1"/>
          </p:cNvSpPr>
          <p:nvPr>
            <p:ph type="dt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7"/>
          <p:cNvSpPr txBox="1">
            <a:spLocks noGrp="1"/>
          </p:cNvSpPr>
          <p:nvPr>
            <p:ph type="ft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7"/>
          <p:cNvSpPr txBox="1">
            <a:spLocks noGrp="1"/>
          </p:cNvSpPr>
          <p:nvPr>
            <p:ph type="sldNum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Google Shape;88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25651" y="214469"/>
            <a:ext cx="3418285" cy="1134087"/>
          </a:xfrm>
          <a:prstGeom prst="rect">
            <a:avLst/>
          </a:prstGeom>
          <a:noFill/>
          <a:ln>
            <a:noFill/>
          </a:ln>
        </p:spPr>
      </p:pic>
      <p:sp>
        <p:nvSpPr>
          <p:cNvPr id="89" name="Google Shape;89;p1"/>
          <p:cNvSpPr/>
          <p:nvPr/>
        </p:nvSpPr>
        <p:spPr>
          <a:xfrm>
            <a:off x="6907695" y="5327672"/>
            <a:ext cx="2087218" cy="1131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r>
              <a:rPr lang="en-US" sz="1350" b="1" i="0" u="none" strike="noStrike" cap="none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tegrantes</a:t>
            </a:r>
            <a:r>
              <a:rPr lang="en-US" sz="135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:</a:t>
            </a:r>
            <a:endParaRPr sz="135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-8572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Char char="•"/>
            </a:pPr>
            <a:r>
              <a:rPr lang="en-US" sz="135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s-CL" sz="135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Francisca Barro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-8572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Char char="•"/>
            </a:pPr>
            <a:r>
              <a:rPr lang="en-US" sz="135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s-CL" sz="135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Andrea Yáñez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br>
              <a:rPr lang="en-US" sz="135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35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6 de </a:t>
            </a:r>
            <a:r>
              <a:rPr lang="en-US" sz="1350" b="0" i="0" u="none" strike="noStrike" cap="none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Diciembre</a:t>
            </a:r>
            <a:r>
              <a:rPr lang="en-US" sz="135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2022</a:t>
            </a:r>
            <a:endParaRPr sz="135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" name="Google Shape;90;p1"/>
          <p:cNvSpPr txBox="1"/>
          <p:nvPr/>
        </p:nvSpPr>
        <p:spPr>
          <a:xfrm>
            <a:off x="225651" y="3075077"/>
            <a:ext cx="7984986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s-CL" sz="2000" b="1" i="0" u="none" strike="noStrike" cap="none" dirty="0">
                <a:solidFill>
                  <a:srgbClr val="7030A0"/>
                </a:solidFill>
                <a:latin typeface="Arial Rounded"/>
                <a:ea typeface="Arial Rounded"/>
                <a:cs typeface="Arial Rounded"/>
                <a:sym typeface="Arial Rounded"/>
              </a:rPr>
              <a:t>Datos Masivos y Minería de Dato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1" i="0" u="none" strike="noStrike" cap="none" dirty="0" err="1">
                <a:solidFill>
                  <a:srgbClr val="7F7F7F"/>
                </a:solidFill>
                <a:latin typeface="Arial Rounded"/>
                <a:ea typeface="Arial Rounded"/>
                <a:cs typeface="Arial Rounded"/>
                <a:sym typeface="Arial Rounded"/>
              </a:rPr>
              <a:t>Clasificador</a:t>
            </a:r>
            <a:r>
              <a:rPr lang="en-US" sz="2000" b="1" i="0" u="none" strike="noStrike" cap="none" dirty="0">
                <a:solidFill>
                  <a:srgbClr val="7F7F7F"/>
                </a:solidFill>
                <a:latin typeface="Arial Rounded"/>
                <a:ea typeface="Arial Rounded"/>
                <a:cs typeface="Arial Rounded"/>
                <a:sym typeface="Arial Rounded"/>
              </a:rPr>
              <a:t> de </a:t>
            </a:r>
            <a:r>
              <a:rPr lang="en-US" sz="2000" b="1" i="0" u="none" strike="noStrike" cap="none" dirty="0" err="1">
                <a:solidFill>
                  <a:srgbClr val="7F7F7F"/>
                </a:solidFill>
                <a:latin typeface="Arial Rounded"/>
                <a:ea typeface="Arial Rounded"/>
                <a:cs typeface="Arial Rounded"/>
                <a:sym typeface="Arial Rounded"/>
              </a:rPr>
              <a:t>Imágene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E8F34C03-16FE-B002-5539-453E0DCAF1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125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15" imgH="416" progId="TCLayout.ActiveDocument.1">
                  <p:embed/>
                </p:oleObj>
              </mc:Choice>
              <mc:Fallback>
                <p:oleObj name="Diapositiva de think-cell" r:id="rId3" imgW="415" imgH="41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E8F34C03-16FE-B002-5539-453E0DCAF1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BA27D9F6-3639-703D-0D6C-2EA66920F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CL" dirty="0"/>
              <a:t>Clasificador de Imágenes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2C5656A-081F-E5AA-36AE-807AB59A7B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BBEDC6C-DF66-B7E9-0C7D-B96AB078B8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03152" y="2047804"/>
            <a:ext cx="6737696" cy="2762392"/>
          </a:xfrm>
          <a:prstGeom prst="rect">
            <a:avLst/>
          </a:prstGeom>
        </p:spPr>
      </p:pic>
      <p:sp>
        <p:nvSpPr>
          <p:cNvPr id="10" name="Marcador de texto 2">
            <a:extLst>
              <a:ext uri="{FF2B5EF4-FFF2-40B4-BE49-F238E27FC236}">
                <a16:creationId xmlns:a16="http://schemas.microsoft.com/office/drawing/2014/main" id="{678A0D01-A1E1-8C24-513A-E78182922641}"/>
              </a:ext>
            </a:extLst>
          </p:cNvPr>
          <p:cNvSpPr txBox="1">
            <a:spLocks/>
          </p:cNvSpPr>
          <p:nvPr/>
        </p:nvSpPr>
        <p:spPr>
          <a:xfrm>
            <a:off x="402619" y="5869403"/>
            <a:ext cx="7886700" cy="6234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62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114300" indent="0">
              <a:buFont typeface="Arial"/>
              <a:buNone/>
            </a:pPr>
            <a:r>
              <a:rPr lang="es-CL"/>
              <a:t>Se puede indicar una imagen base para el entrenamiento, y una cantidad de resultad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53004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BBB0F8D-BC9F-080E-6110-ADE500CB7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6BBEC26-CA72-2246-3A1D-2447AC93E1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2619" y="5869403"/>
            <a:ext cx="7886700" cy="623471"/>
          </a:xfrm>
        </p:spPr>
        <p:txBody>
          <a:bodyPr>
            <a:normAutofit fontScale="62500" lnSpcReduction="20000"/>
          </a:bodyPr>
          <a:lstStyle/>
          <a:p>
            <a:pPr marL="114300" indent="0">
              <a:buNone/>
            </a:pPr>
            <a:r>
              <a:rPr lang="es-CL" dirty="0"/>
              <a:t>Se puede indicar una imagen base para el entrenamiento, y una cantidad de resultados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CD235D1-2E17-815E-7650-DEBD84346E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320" y="1304508"/>
            <a:ext cx="3913359" cy="438754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3700E6AE-A792-B764-355F-907A5B8BA2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6199" y="1436956"/>
            <a:ext cx="3467278" cy="2730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0695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6DD08BDD-3262-9151-538E-D5DB28AE90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078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15" imgH="416" progId="TCLayout.ActiveDocument.1">
                  <p:embed/>
                </p:oleObj>
              </mc:Choice>
              <mc:Fallback>
                <p:oleObj name="Diapositiva de think-cell" r:id="rId3" imgW="415" imgH="416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6DD08BDD-3262-9151-538E-D5DB28AE9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E2134581-C050-0108-D9C2-56D60BB74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CL" dirty="0"/>
              <a:t>Posibles usos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E15FB89-AF15-50DF-E506-47F5E1460E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Búsqueda de fotos en teléfonos</a:t>
            </a:r>
          </a:p>
          <a:p>
            <a:r>
              <a:rPr lang="es-CL" dirty="0"/>
              <a:t>Identificar fotos de pornografía (delitos)</a:t>
            </a:r>
          </a:p>
          <a:p>
            <a:r>
              <a:rPr lang="es-CL" dirty="0"/>
              <a:t>Juegos como </a:t>
            </a:r>
            <a:r>
              <a:rPr lang="es-CL" dirty="0" err="1"/>
              <a:t>pictionary</a:t>
            </a:r>
            <a:endParaRPr lang="es-CL" dirty="0"/>
          </a:p>
          <a:p>
            <a:r>
              <a:rPr lang="es-CL" dirty="0"/>
              <a:t>Imágenes médicas</a:t>
            </a:r>
          </a:p>
          <a:p>
            <a:endParaRPr lang="es-CL" dirty="0"/>
          </a:p>
          <a:p>
            <a:pPr marL="114300" indent="0">
              <a:buNone/>
            </a:pPr>
            <a:r>
              <a:rPr lang="es-CL" dirty="0"/>
              <a:t>En los celulares ya se utiliza.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805627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g135180edd6e_0_17"/>
          <p:cNvSpPr txBox="1"/>
          <p:nvPr/>
        </p:nvSpPr>
        <p:spPr>
          <a:xfrm>
            <a:off x="361346" y="6253093"/>
            <a:ext cx="439200" cy="39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F3A46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2F3A46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sz="1200" b="0" i="0" u="none" strike="noStrike" cap="none">
              <a:solidFill>
                <a:srgbClr val="2F3A4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95" name="Google Shape;295;g135180edd6e_0_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962524" y="832360"/>
            <a:ext cx="5038000" cy="1671475"/>
          </a:xfrm>
          <a:prstGeom prst="rect">
            <a:avLst/>
          </a:prstGeom>
          <a:noFill/>
          <a:ln>
            <a:noFill/>
          </a:ln>
        </p:spPr>
      </p:pic>
      <p:sp>
        <p:nvSpPr>
          <p:cNvPr id="296" name="Google Shape;296;g135180edd6e_0_17"/>
          <p:cNvSpPr txBox="1"/>
          <p:nvPr/>
        </p:nvSpPr>
        <p:spPr>
          <a:xfrm>
            <a:off x="0" y="3138250"/>
            <a:ext cx="9144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1">
                <a:solidFill>
                  <a:srgbClr val="7030A0"/>
                </a:solidFill>
                <a:latin typeface="Arial Rounded"/>
                <a:ea typeface="Arial Rounded"/>
                <a:cs typeface="Arial Rounded"/>
                <a:sym typeface="Arial Rounded"/>
              </a:rPr>
              <a:t>¡Muchas gracias!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Tema de 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6</Words>
  <Application>Microsoft Office PowerPoint</Application>
  <PresentationFormat>Presentación en pantalla (4:3)</PresentationFormat>
  <Paragraphs>18</Paragraphs>
  <Slides>5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0" baseType="lpstr">
      <vt:lpstr>Arial</vt:lpstr>
      <vt:lpstr>Calibri</vt:lpstr>
      <vt:lpstr>Arial Rounded</vt:lpstr>
      <vt:lpstr>Tema de Office</vt:lpstr>
      <vt:lpstr>Diapositiva de think-cell</vt:lpstr>
      <vt:lpstr>Presentación de PowerPoint</vt:lpstr>
      <vt:lpstr>Clasificador de Imágenes</vt:lpstr>
      <vt:lpstr>Presentación de PowerPoint</vt:lpstr>
      <vt:lpstr>Posibles usos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ablo Rivera</dc:creator>
  <cp:lastModifiedBy>Yáñez Gallegos Andrea Verónica (Codelco-Casa Matriz)</cp:lastModifiedBy>
  <cp:revision>1</cp:revision>
  <dcterms:created xsi:type="dcterms:W3CDTF">2022-06-16T00:11:40Z</dcterms:created>
  <dcterms:modified xsi:type="dcterms:W3CDTF">2022-12-16T23:01:36Z</dcterms:modified>
</cp:coreProperties>
</file>